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09" r:id="rId15"/>
    <p:sldId id="310" r:id="rId16"/>
    <p:sldId id="312" r:id="rId17"/>
    <p:sldId id="314" r:id="rId18"/>
    <p:sldId id="317" r:id="rId19"/>
    <p:sldId id="316" r:id="rId20"/>
  </p:sldIdLst>
  <p:sldSz cx="12192000" cy="6858000"/>
  <p:notesSz cx="9926638" cy="6797675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82" autoAdjust="0"/>
    <p:restoredTop sz="72396" autoAdjust="0"/>
  </p:normalViewPr>
  <p:slideViewPr>
    <p:cSldViewPr snapToGrid="0">
      <p:cViewPr varScale="1">
        <p:scale>
          <a:sx n="180" d="100"/>
          <a:sy n="180" d="100"/>
        </p:scale>
        <p:origin x="1496" y="19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9/17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t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9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7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9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hyperlink" Target="https://www.atlassian.com/de/git/tutorials/comparing-workflows/feature-branch-workflow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ithub.com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github.com/NikoStein/klausurtagung202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0440A5-71AB-5646-AAF9-13F47F221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7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AF1E19E-6246-6446-92F7-82CF13300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/>
          <a:lstStyle/>
          <a:p>
            <a:r>
              <a:rPr lang="de-CH" dirty="0" err="1"/>
              <a:t>Git</a:t>
            </a:r>
            <a:r>
              <a:rPr lang="de-CH" dirty="0"/>
              <a:t> Basic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ausurtagung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CFB34-B40B-445C-83BA-6528E818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5C8A23-66C1-E546-93B3-2626714593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98091A-DE42-E149-9BE3-AC48F5A6C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1EDAF3-9216-F248-BE95-843B7EB682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45D9E6-781E-9742-8525-B589DD29B0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AA6D3A-4ACB-B041-B5A6-87219B1C2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DB9C4C-43E2-C448-93B6-0C90C47B6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eature Branch Workflo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D2797E-4884-D648-98ED-CADBC81CB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eature branch workflow is a common way of collaborating on projects</a:t>
            </a:r>
          </a:p>
          <a:p>
            <a:r>
              <a:rPr lang="en-US" dirty="0"/>
              <a:t>Basically, the feature branch workflow looks like this:</a:t>
            </a:r>
          </a:p>
          <a:p>
            <a:pPr lvl="1"/>
            <a:r>
              <a:rPr lang="de-DE" dirty="0" err="1"/>
              <a:t>Cl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pPr lvl="1"/>
            <a:r>
              <a:rPr lang="de-DE" dirty="0"/>
              <a:t>Create a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Com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Push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Open a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repo</a:t>
            </a:r>
            <a:endParaRPr lang="de-DE" dirty="0"/>
          </a:p>
          <a:p>
            <a:pPr lvl="1"/>
            <a:r>
              <a:rPr lang="de-DE" dirty="0"/>
              <a:t>Clean </a:t>
            </a:r>
            <a:r>
              <a:rPr lang="de-DE" dirty="0" err="1"/>
              <a:t>up</a:t>
            </a:r>
            <a:r>
              <a:rPr lang="de-DE" dirty="0"/>
              <a:t> after </a:t>
            </a:r>
            <a:r>
              <a:rPr lang="de-DE" dirty="0" err="1"/>
              <a:t>your</a:t>
            </a:r>
            <a:r>
              <a:rPr lang="de-DE" dirty="0"/>
              <a:t>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g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7"/>
              </a:rPr>
              <a:t>https://www.atlassian.com/de/git/tutorials/comparing-workflows/feature-branch-workflow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714E9-A34B-CA4D-AA06-761703102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CC692A-CB11-1A45-8369-54726B054F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9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51C330-F91C-B64B-80E3-2761A6E87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F02A3C6-F95C-3A41-81EC-9EF633732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356529-02C7-8745-B8B6-A0D9B7FFE0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tretch>
            <a:fillRect/>
          </a:stretch>
        </p:blipFill>
        <p:spPr>
          <a:xfrm>
            <a:off x="6096000" y="1841476"/>
            <a:ext cx="5243513" cy="3846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8067CF5-C500-FF4E-B81B-7A2244ED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4DDD7E-9E8B-A845-919D-B5AF3E50A2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First, clone our Klausurtagung2020 repository:</a:t>
            </a:r>
          </a:p>
          <a:p>
            <a:pPr lvl="1"/>
            <a:r>
              <a:rPr lang="en-US" sz="1800" dirty="0"/>
              <a:t>Go to </a:t>
            </a:r>
            <a:r>
              <a:rPr lang="en-US" sz="1800" dirty="0">
                <a:hlinkClick r:id="rId8"/>
              </a:rPr>
              <a:t>www.github.com</a:t>
            </a:r>
            <a:endParaRPr lang="en-US" dirty="0"/>
          </a:p>
          <a:p>
            <a:pPr lvl="1"/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sure</a:t>
            </a:r>
            <a:r>
              <a:rPr lang="de-DE" sz="1800" dirty="0"/>
              <a:t> </a:t>
            </a:r>
            <a:r>
              <a:rPr lang="de-DE" sz="1800" dirty="0" err="1"/>
              <a:t>you’re</a:t>
            </a:r>
            <a:r>
              <a:rPr lang="de-DE" sz="1800" dirty="0"/>
              <a:t> </a:t>
            </a:r>
            <a:r>
              <a:rPr lang="de-DE" sz="1800" dirty="0" err="1"/>
              <a:t>logg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account</a:t>
            </a:r>
            <a:endParaRPr lang="de-DE" sz="1800" dirty="0"/>
          </a:p>
          <a:p>
            <a:pPr lvl="1"/>
            <a:r>
              <a:rPr lang="de-DE" sz="1800" dirty="0"/>
              <a:t>Fi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you’d</a:t>
            </a:r>
            <a:r>
              <a:rPr lang="de-DE" sz="1800" dirty="0"/>
              <a:t> like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(</a:t>
            </a:r>
            <a:r>
              <a:rPr lang="en-US" sz="1800" dirty="0">
                <a:hlinkClick r:id="rId9"/>
              </a:rPr>
              <a:t>https://github.com/NikoStein/klausurtagung2020</a:t>
            </a:r>
            <a:r>
              <a:rPr lang="en-US" sz="1800" dirty="0"/>
              <a:t>)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 err="1"/>
              <a:t>Clon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lone</a:t>
            </a:r>
            <a:r>
              <a:rPr lang="de-DE" sz="1800" i="1" dirty="0"/>
              <a:t> https://</a:t>
            </a:r>
            <a:r>
              <a:rPr lang="de-DE" sz="1800" i="1" dirty="0" err="1"/>
              <a:t>github.com</a:t>
            </a:r>
            <a:r>
              <a:rPr lang="de-DE" sz="1800" i="1" dirty="0"/>
              <a:t>/</a:t>
            </a:r>
            <a:r>
              <a:rPr lang="de-DE" sz="1800" i="1" dirty="0" err="1"/>
              <a:t>abc</a:t>
            </a:r>
            <a:r>
              <a:rPr lang="de-DE" sz="1800" i="1" dirty="0"/>
              <a:t>/</a:t>
            </a:r>
            <a:r>
              <a:rPr lang="de-DE" sz="1800" i="1" dirty="0" err="1"/>
              <a:t>abc.git</a:t>
            </a: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3FBB44-9866-4244-A3BB-EE8F39F8A9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it Ba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E130E9-517C-3649-B367-5F21E46A8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D9AD95-E351-FD45-8C39-770FF1064036}"/>
              </a:ext>
            </a:extLst>
          </p:cNvPr>
          <p:cNvSpPr/>
          <p:nvPr/>
        </p:nvSpPr>
        <p:spPr>
          <a:xfrm>
            <a:off x="9516862" y="3016954"/>
            <a:ext cx="1822651" cy="575567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8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652FED-5FF2-3549-AC40-0D2A97EC7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72391-5926-1545-A0AE-4B44D605D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10D0BC-8CAA-2C4D-953B-FEDE20072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</a:t>
            </a:r>
            <a:r>
              <a:rPr lang="en-US"/>
              <a:t>in a new </a:t>
            </a:r>
            <a:r>
              <a:rPr lang="en-US" dirty="0"/>
              <a:t>featur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6519A66-CFE0-5C44-AD16-DE8FACEB67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w you are all set-up to start making changes to your local Git repository</a:t>
            </a:r>
          </a:p>
          <a:p>
            <a:r>
              <a:rPr lang="en-US" sz="1800" dirty="0"/>
              <a:t>However, you should use branches to effectively collaborate with others on the same repo</a:t>
            </a:r>
          </a:p>
          <a:p>
            <a:r>
              <a:rPr lang="en-US" sz="1800" dirty="0"/>
              <a:t>To create a new branch and check it out use:</a:t>
            </a:r>
          </a:p>
          <a:p>
            <a:pPr marL="309563" lvl="1" indent="0">
              <a:buNone/>
            </a:pPr>
            <a:r>
              <a:rPr lang="en-US" sz="1800" i="1" dirty="0"/>
              <a:t>git checkout –b &lt;new branch name&gt;</a:t>
            </a:r>
          </a:p>
          <a:p>
            <a:r>
              <a:rPr lang="en-US" sz="1800" dirty="0"/>
              <a:t>You can switch you active branch by</a:t>
            </a:r>
          </a:p>
          <a:p>
            <a:pPr marL="309563" lvl="1" indent="0">
              <a:buNone/>
            </a:pPr>
            <a:r>
              <a:rPr lang="en-US" sz="1800" i="1" dirty="0"/>
              <a:t>git checkout &lt;branch name&gt;</a:t>
            </a:r>
          </a:p>
          <a:p>
            <a:r>
              <a:rPr lang="en-US" sz="1800" dirty="0"/>
              <a:t>Finally, you can work on your code and push changes to the new branch in your forked repository by</a:t>
            </a:r>
          </a:p>
          <a:p>
            <a:pPr marL="309563" lvl="1" indent="0">
              <a:buNone/>
            </a:pPr>
            <a:r>
              <a:rPr lang="en-US" sz="1800" i="1" dirty="0"/>
              <a:t>git push origin &lt;branch name&gt;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23968-E7DA-4948-BD02-228704F61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DEAAD-D1D5-3849-BDBA-AF3131994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44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3D52EC-3C83-EB4C-8CEE-40D0FF0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a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A955F7-880E-1C44-9A44-0DB8E25C1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5664000" cy="4735511"/>
          </a:xfrm>
        </p:spPr>
        <p:txBody>
          <a:bodyPr>
            <a:normAutofit/>
          </a:bodyPr>
          <a:lstStyle/>
          <a:p>
            <a:r>
              <a:rPr lang="en-US" sz="1800" dirty="0"/>
              <a:t>Prior to pushing your changes to the master branch you should update your feature branch 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switch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en-US" sz="1800" i="1" dirty="0"/>
              <a:t>git fetch -p origin	(update from </a:t>
            </a:r>
            <a:r>
              <a:rPr lang="en-US" sz="1800" i="1" dirty="0" err="1"/>
              <a:t>github</a:t>
            </a:r>
            <a:r>
              <a:rPr lang="en-US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/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local</a:t>
            </a:r>
            <a:r>
              <a:rPr lang="de-DE" sz="1800" i="1"/>
              <a:t> master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</a:t>
            </a:r>
            <a:r>
              <a:rPr lang="de-DE" i="1" dirty="0" err="1"/>
              <a:t>switch</a:t>
            </a:r>
            <a:r>
              <a:rPr lang="de-DE" i="1" dirty="0"/>
              <a:t> </a:t>
            </a:r>
            <a:r>
              <a:rPr lang="de-DE" i="1" dirty="0" err="1"/>
              <a:t>branch</a:t>
            </a:r>
            <a:r>
              <a:rPr lang="de-DE" i="1" dirty="0"/>
              <a:t>)</a:t>
            </a:r>
            <a:endParaRPr lang="en-US" sz="1800" i="1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into</a:t>
            </a:r>
            <a:r>
              <a:rPr lang="de-DE" sz="1800" i="1" dirty="0"/>
              <a:t> </a:t>
            </a:r>
            <a:r>
              <a:rPr lang="de-DE" sz="1800" i="1" dirty="0" err="1"/>
              <a:t>new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push </a:t>
            </a:r>
            <a:r>
              <a:rPr lang="de-DE" i="1" dirty="0" err="1"/>
              <a:t>changes</a:t>
            </a:r>
            <a:r>
              <a:rPr lang="de-DE" i="1" dirty="0"/>
              <a:t>)</a:t>
            </a:r>
            <a:endParaRPr lang="en-US" sz="1800" i="1" dirty="0"/>
          </a:p>
          <a:p>
            <a:r>
              <a:rPr lang="en-US" sz="1800" dirty="0"/>
              <a:t>To submit your changes to our official class repo you have to create a Pull Request for the feature branch on the </a:t>
            </a:r>
            <a:r>
              <a:rPr lang="en-US" sz="1800" dirty="0" err="1"/>
              <a:t>github</a:t>
            </a:r>
            <a:r>
              <a:rPr lang="en-US" sz="1800" dirty="0"/>
              <a:t> websit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9CED46-9327-8447-BE88-C7F4030AD6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6E0A9-0A13-184B-9872-C6AC24ABE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31A1568-6674-CE42-A0C5-9B21906281C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6373813" y="3054110"/>
            <a:ext cx="4965700" cy="14212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11FD0BC-E2D1-FC43-A3BB-6529E80F22CE}"/>
              </a:ext>
            </a:extLst>
          </p:cNvPr>
          <p:cNvSpPr/>
          <p:nvPr/>
        </p:nvSpPr>
        <p:spPr>
          <a:xfrm>
            <a:off x="10058399" y="3363217"/>
            <a:ext cx="1047566" cy="803074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A9427A-FD79-0949-8868-E19927983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up after a merged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A56AE-E5EB-0D4E-901E-CEEB15E90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After</a:t>
            </a:r>
            <a:r>
              <a:rPr lang="en-US" sz="1800" dirty="0"/>
              <a:t> we accept your pull request and add your changes to the official repository you can clean up the fork</a:t>
            </a:r>
          </a:p>
          <a:p>
            <a:r>
              <a:rPr lang="en-US" sz="1800" dirty="0"/>
              <a:t>Checkout the master branch</a:t>
            </a:r>
          </a:p>
          <a:p>
            <a:pPr marL="309563" lvl="1" indent="0">
              <a:buNone/>
            </a:pPr>
            <a:r>
              <a:rPr lang="en-US" sz="1800" i="1" dirty="0"/>
              <a:t>git </a:t>
            </a:r>
            <a:r>
              <a:rPr lang="en-US" sz="1800" i="1"/>
              <a:t>checkout master</a:t>
            </a:r>
            <a:endParaRPr lang="en-US" sz="1800" dirty="0"/>
          </a:p>
          <a:p>
            <a:r>
              <a:rPr lang="en-US" sz="1800" dirty="0"/>
              <a:t>Update your local clone by using</a:t>
            </a:r>
          </a:p>
          <a:p>
            <a:pPr marL="309563" lvl="1" indent="0">
              <a:buNone/>
            </a:pPr>
            <a:r>
              <a:rPr lang="en-US" sz="1800" i="1" dirty="0"/>
              <a:t>git pull upstream master</a:t>
            </a:r>
          </a:p>
          <a:p>
            <a:r>
              <a:rPr lang="en-US" sz="1800" dirty="0"/>
              <a:t>Delete the feature branch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 -D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</a:p>
          <a:p>
            <a:r>
              <a:rPr lang="de-DE" sz="1800" dirty="0"/>
              <a:t>Update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master</a:t>
            </a:r>
            <a:r>
              <a:rPr lang="de-DE" sz="1800" dirty="0"/>
              <a:t> </a:t>
            </a:r>
            <a:r>
              <a:rPr lang="de-DE" sz="1800" dirty="0" err="1"/>
              <a:t>branch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forked</a:t>
            </a:r>
            <a:r>
              <a:rPr lang="de-DE" sz="1800" dirty="0"/>
              <a:t> </a:t>
            </a:r>
            <a:r>
              <a:rPr lang="de-DE" sz="1800" dirty="0" err="1"/>
              <a:t>repo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endParaRPr lang="de-DE" sz="1800" i="1" dirty="0"/>
          </a:p>
          <a:p>
            <a:r>
              <a:rPr lang="en-US" sz="1800" dirty="0"/>
              <a:t>Delete the feature branch on your GitHub repository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--</a:t>
            </a:r>
            <a:r>
              <a:rPr lang="de-DE" sz="1800" i="1" dirty="0" err="1"/>
              <a:t>delet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  <a:endParaRPr lang="en-US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8039B8-071A-A44E-A717-CB2E62189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CE3F0A-D0BB-5C4E-88CB-69465DA5F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2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5E07A9-9BFB-7D4B-895E-6BA275DDA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EEE2BF-8EED-DA49-8FAC-D715854C5B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de-DE" dirty="0"/>
          </a:p>
          <a:p>
            <a:pPr>
              <a:buNone/>
            </a:pPr>
            <a:endParaRPr lang="de-DE" dirty="0"/>
          </a:p>
          <a:p>
            <a:pPr>
              <a:buNone/>
            </a:pPr>
            <a:r>
              <a:rPr lang="de-DE" sz="2000" dirty="0"/>
              <a:t>Nikolai Stein</a:t>
            </a:r>
          </a:p>
          <a:p>
            <a:pPr>
              <a:buNone/>
            </a:pPr>
            <a:r>
              <a:rPr lang="de-DE" sz="2000" dirty="0"/>
              <a:t>Lehrstuhl für WI &amp; IM</a:t>
            </a:r>
          </a:p>
          <a:p>
            <a:pPr>
              <a:buNone/>
            </a:pPr>
            <a:r>
              <a:rPr lang="de-DE" sz="2000" dirty="0"/>
              <a:t>Julius-Maximilians-Universität Würzburg</a:t>
            </a:r>
          </a:p>
          <a:p>
            <a:pPr>
              <a:buNone/>
            </a:pPr>
            <a:r>
              <a:rPr lang="de-DE" sz="2000" dirty="0"/>
              <a:t>Josef-Stangl-Platz 2, 97070 Würzburg</a:t>
            </a:r>
          </a:p>
          <a:p>
            <a:pPr>
              <a:buNone/>
            </a:pPr>
            <a:endParaRPr lang="de-DE" sz="2000" dirty="0"/>
          </a:p>
          <a:p>
            <a:pPr>
              <a:buNone/>
            </a:pPr>
            <a:r>
              <a:rPr lang="de-DE" sz="2000" dirty="0" err="1"/>
              <a:t>nikolai.stein@uni-wuerzburg.de</a:t>
            </a:r>
            <a:endParaRPr lang="de-DE" sz="2000" dirty="0"/>
          </a:p>
          <a:p>
            <a:pPr>
              <a:buNone/>
            </a:pPr>
            <a:r>
              <a:rPr lang="de-DE" sz="2000" dirty="0" err="1"/>
              <a:t>www.bwl.uni-wuerzburg.de</a:t>
            </a:r>
            <a:r>
              <a:rPr lang="de-DE" sz="2000" dirty="0"/>
              <a:t>/</a:t>
            </a:r>
            <a:r>
              <a:rPr lang="de-DE" sz="2000" dirty="0" err="1"/>
              <a:t>lehrstuehle</a:t>
            </a:r>
            <a:r>
              <a:rPr lang="de-DE" sz="2000" dirty="0"/>
              <a:t>/bwl12/</a:t>
            </a:r>
          </a:p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42A1AE-184C-5746-B1B6-D473DCDACF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6F04FD-E6CD-6640-A0C2-1FF99B278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654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6C7E7-D894-7446-A4F2-C90940CB45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A6A18-3802-7344-9509-4B89C3898E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2E6635-F01E-F241-829D-3252B89AF8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22EA5-9729-1A46-A940-46C1E43D36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26476D-0BFE-C243-8F60-5482A1D2B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f20gFhJhCuUW3yiD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.j4pjy1gXcHbsUaez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vZJWGOjCAOrZlfnSu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Gn0QE1I57lxlEkddJ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36</TotalTime>
  <Words>1038</Words>
  <Application>Microsoft Macintosh PowerPoint</Application>
  <PresentationFormat>Widescreen</PresentationFormat>
  <Paragraphs>187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Git Basics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Feature Branch Workflow</vt:lpstr>
      <vt:lpstr>Clone the repository</vt:lpstr>
      <vt:lpstr>Work in a new feature branch</vt:lpstr>
      <vt:lpstr>Opening a pull request</vt:lpstr>
      <vt:lpstr>Cleaning up after a merged pull request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20</cp:revision>
  <cp:lastPrinted>2018-08-28T11:15:39Z</cp:lastPrinted>
  <dcterms:created xsi:type="dcterms:W3CDTF">2019-10-14T17:48:10Z</dcterms:created>
  <dcterms:modified xsi:type="dcterms:W3CDTF">2020-09-17T19:35:0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